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402" r:id="rId2"/>
  </p:sldMasterIdLst>
  <p:notesMasterIdLst>
    <p:notesMasterId r:id="rId4"/>
  </p:notesMasterIdLst>
  <p:sldIdLst>
    <p:sldId id="259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/>
    <p:restoredTop sz="0"/>
  </p:normalViewPr>
  <p:slideViewPr>
    <p:cSldViewPr>
      <p:cViewPr varScale="1">
        <p:scale>
          <a:sx n="65" d="100"/>
          <a:sy n="65" d="100"/>
        </p:scale>
        <p:origin x="6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tags" Target="tags/tag1.xml"/><Relationship Id="rId6" Type="http://schemas.openxmlformats.org/officeDocument/2006/relationships/presProps" Target="presProps.xml"/><Relationship Id="rId7" Type="http://schemas.openxmlformats.org/officeDocument/2006/relationships/viewProps" Target="viewProps.xml"/><Relationship Id="rId8" Type="http://schemas.openxmlformats.org/officeDocument/2006/relationships/theme" Target="theme/theme1.xml"/><Relationship Id="rId9" Type="http://schemas.openxmlformats.org/officeDocument/2006/relationships/tableStyles" Target="tableStyles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7/17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829911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2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370586-043B-4551-AE02-804FEA46318F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1B370-42D9-4CA6-8148-25CE763853E4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E316E84-03BE-4BBA-A513-92A13AB8D228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/>
              <a:t>主标题文字示意 </a:t>
            </a:r>
            <a:r>
              <a:rPr lang="en-US" altLang="zh-CN"/>
              <a:t>50</a:t>
            </a:r>
            <a:r>
              <a:rPr lang="en-CN"/>
              <a:t>pt</a:t>
            </a:r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/>
              <a:t>副标题文字示意</a:t>
            </a:r>
            <a:r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5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8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3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9979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CA55BBB-61B4-48BE-BE27-6AD22BFCCD2F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35F5C8C-0FED-4246-9338-9D7FAA914AE4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404AB1C-8C46-4890-A869-195B9D9A4035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582D423D-61BA-4316-837C-35EB9E2D92E4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AB705D97-144E-4396-93F4-2207AA908E4D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EA66246E-4401-4653-8BF1-740C902BC22B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3D06058-5E9D-4113-AF41-41B8B4CF5B4F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3E01792B-D7B2-4DBE-A548-E4DA211C57D4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/Relationships>
</file>

<file path=ppt/slideMasters/_rels/slideMaster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194141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幻灯片" r:id="rId9" imgW="270" imgH="270" progId="TCLayout.ActiveDocument.1">
                  <p:embed/>
                </p:oleObj>
              </mc:Choice>
              <mc:Fallback>
                <p:oleObj name="think-cell 幻灯片" r:id="rId9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zh-CN" altLang="en-US" sz="100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396" r:id="rId2"/>
    <p:sldLayoutId id="2147485397" r:id="rId3"/>
    <p:sldLayoutId id="2147485400" r:id="rId4"/>
    <p:sldLayoutId id="214748540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Font typeface="Arial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ct val="0"/>
        </a:spcAft>
        <a:buFont typeface="Arial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ct val="0"/>
        </a:spcBef>
        <a:spcAft>
          <a:spcPts val="900"/>
        </a:spcAft>
        <a:buFont typeface="Arial" pitchFamily="34" charset="0"/>
        <a:buChar char="​"/>
        <a:defRPr lang="en-US" sz="2400" kern="1200" baseline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 userDrawn="1">
          <p15:clr>
            <a:srgbClr val="F26B43"/>
          </p15:clr>
        </p15:guide>
        <p15:guide id="2" pos="7256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28" userDrawn="1">
          <p15:clr>
            <a:srgbClr val="F26B43"/>
          </p15:clr>
        </p15:guide>
        <p15:guide id="6" orient="horz" pos="3864" userDrawn="1">
          <p15:clr>
            <a:srgbClr val="F26B43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slideLayout" Target="../slideLayouts/slideLayout16.xml"/><Relationship Id="rId10" Type="http://schemas.openxmlformats.org/officeDocument/2006/relationships/notesSlide" Target="../notesSlides/notesSlide1.xml"/><Relationship Id="rId11" Type="http://schemas.openxmlformats.org/officeDocument/2006/relationships/oleObject" Target="../embeddings/oleObject4.bin"/><Relationship Id="rId12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170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幻灯片" r:id="rId11" imgW="349" imgH="350" progId="TCLayout.ActiveDocument.1">
                  <p:embed/>
                </p:oleObj>
              </mc:Choice>
              <mc:Fallback>
                <p:oleObj name="think-cell 幻灯片" r:id="rId11" imgW="349" imgH="35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pPr>
              <a:defRPr sz="1600"/>
            </a:pPr>
            <a:r>
              <a:t>测试内容 1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BB2C70E-F249-51C7-1682-911F1EC396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564141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sz="3998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1.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1EC54BB-3542-C081-7156-653A67810BE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954007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2.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BA17100-91AC-D860-D3F6-E1D8C4E3869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8402665" y="19292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3.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127476D0-DAF6-DABA-902E-E77653B3AC8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564141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4.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2C5BFF7A-EA27-E725-B93E-C57B73051F0F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954007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5.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E641AAA9-F34C-E882-14CC-096A416B91E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402665" y="3934180"/>
            <a:ext cx="2225195" cy="615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SzTx/>
              <a:buFont typeface="Arial" pitchFamily="34" charset="0"/>
              <a:buNone/>
              <a:defRPr/>
            </a:pPr>
            <a:r>
              <a:rPr kumimoji="0" lang="en-US" sz="3998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sym typeface="Futura"/>
              </a:rPr>
              <a:t>06.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FA754322-EC34-3CBC-92C5-274998ADE07D}"/>
              </a:ext>
            </a:extLst>
          </p:cNvPr>
          <p:cNvSpPr txBox="1"/>
          <p:nvPr/>
        </p:nvSpPr>
        <p:spPr>
          <a:xfrm>
            <a:off x="407988" y="6215906"/>
            <a:ext cx="16382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110"/>
              </a:spcAft>
              <a:buFont typeface="Arial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gendas, list, lists</a:t>
            </a:r>
          </a:p>
        </p:txBody>
      </p:sp>
    </p:spTree>
    <p:extLst>
      <p:ext uri="{BB962C8B-B14F-4D97-AF65-F5344CB8AC3E}">
        <p14:creationId xmlns:p14="http://schemas.microsoft.com/office/powerpoint/2010/main" val="89786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3.09.14"/>
  <p:tag name="AS_TITLE" val="Aspose.Slides for .NET 4.0 Client Profile"/>
  <p:tag name="AS_VERSION" val="23.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lCZ4oMOXNKuzuCZ5K6ewc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EgMAAAAAAAAAAAAACAB////////////////AAAA////////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gEDAAAAAgD///////8MAAZQZXJzb25hbElkXzAFAAAAAAAEAAAAAAAEAAAAAQAEAAAAAAD///////8EAAAAAAD///////8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lCZ4oMOXNKuzuCZ5K6ewcDRGF0YQAWAAAAAlBlcnNvbmFsSWQAAQAAAAAAAk5hbWUACwAAAFBlcnNvbmFsSWQAEFZlcnNpb24AAAAAAAlMYXN0V3JpdGUAJ78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2342079"/>
  <p:tag name="EMPOWERCHARTSPROPERTIES_SLOT" val="A"/>
  <p:tag name="RUNTIME_ID" val="283c235d-ce74-40f1-bb40-02226f94775f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5wFQAFQ/TRKjcYfsArPBj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JwFQAFQ/TRKjcYfsArPBjEDRGF0YQAWAAAAAlBlcnNvbmFsSWQAAQAAAAAAAk5hbWUACwAAAFBlcnNvbmFsSWQAEFZlcnNpb24AAAAAAAlMYXN0V3JpdGUAL8Y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60307503"/>
  <p:tag name="EMPOWERCHARTSPROPERTIES_SLOT" val="A"/>
  <p:tag name="RUNTIME_ID" val="b22f00d3-71ab-422c-b3fb-101ee49a99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KSFYX4kopApILWYxV96w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KSFYX4kopApILWYxV96wcDRGF0YQAWAAAAAlBlcnNvbmFsSWQAAQAAAAAAAk5hbWUACwAAAFBlcnNvbmFsSWQAEFZlcnNpb24AAAAAAAlMYXN0V3JpdGUA4bw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334127"/>
  <p:tag name="EMPOWERCHARTSPROPERTIES_SLOT" val="A"/>
  <p:tag name="RUNTIME_ID" val="fa1caea9-8ff0-4518-a1d0-5f190f62ad3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p62Gf1Tl1LmuhZF/CWdnk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p62Gf1Tl1LmuhZF/CWdnkDRGF0YQAWAAAAAlBlcnNvbmFsSWQAAQAAAAAAAk5hbWUACwAAAFBlcnNvbmFsSWQAEFZlcnNpb24AAAAAAAlMYXN0V3JpdGUAksE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48349811"/>
  <p:tag name="EMPOWERCHARTSPROPERTIES_SLOT" val="A"/>
  <p:tag name="RUNTIME_ID" val="6817607c-aac0-46f0-ae25-b7365d7721d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/zIsjzUJJn2kNt0KTO6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/zIsjzUJJn2kNt0KTO6kDRGF0YQAWAAAAAlBlcnNvbmFsSWQAAQAAAAAAAk5hbWUACwAAAFBlcnNvbmFsSWQAEFZlcnNpb24AAAAAAAlMYXN0V3JpdGUA28M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54132156"/>
  <p:tag name="EMPOWERCHARTSPROPERTIES_SLOT" val="A"/>
  <p:tag name="RUNTIME_ID" val="3d761938-5af3-419f-9472-a11b6a933f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0tbP+OGMuRJkAQy5fMPOaU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bP+OGMuRJkAQy5fMPOaUDRGF0YQAWAAAAAlBlcnNvbmFsSWQAAQAAAAAAAk5hbWUACwAAAFBlcnNvbmFsSWQAEFZlcnNpb24AAAAAAAlMYXN0V3JpdGUAEL0m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A_LENGTH" val="24576"/>
  <p:tag name="EMPOWERCHARTSPROPERTIES_LASTWRITEDATE" val="638360708436801735"/>
  <p:tag name="EMPOWERCHARTSPROPERTIES_SLOT" val="A"/>
  <p:tag name="RUNTIME_ID" val="f554e5cd-95d6-4bea-9d06-e105c03ffe7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Arial"/>
      </a:majorFont>
      <a:minorFont>
        <a:latin typeface="理想品牌字体 2022"/>
        <a:ea typeface="理想品牌字体 2022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Trebuchet MS"/>
        <a:cs typeface="Arial"/>
      </a:majorFont>
      <a:minorFont>
        <a:latin typeface="Trebuchet MS"/>
        <a:ea typeface="Trebuchet MS"/>
        <a:cs typeface="Arial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172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Office Theme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cp:lastModifiedBy>贾轶涵</cp:lastModifiedBy>
  <cp:revision>5</cp:revision>
  <cp:lastPrinted>2025-06-03T10:34:13Z</cp:lastPrinted>
  <dcterms:created xsi:type="dcterms:W3CDTF">2025-06-03T02:34:13Z</dcterms:created>
  <dcterms:modified xsi:type="dcterms:W3CDTF">2025-07-17T05:35:40Z</dcterms:modified>
</cp:coreProperties>
</file>